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4"/>
  </p:notesMasterIdLst>
  <p:sldIdLst>
    <p:sldId id="261" r:id="rId5"/>
    <p:sldId id="294" r:id="rId6"/>
    <p:sldId id="301" r:id="rId7"/>
    <p:sldId id="304" r:id="rId8"/>
    <p:sldId id="303" r:id="rId9"/>
    <p:sldId id="305" r:id="rId10"/>
    <p:sldId id="306" r:id="rId11"/>
    <p:sldId id="307" r:id="rId12"/>
    <p:sldId id="308" r:id="rId13"/>
    <p:sldId id="300" r:id="rId14"/>
    <p:sldId id="263" r:id="rId15"/>
    <p:sldId id="280" r:id="rId16"/>
    <p:sldId id="290" r:id="rId17"/>
    <p:sldId id="295" r:id="rId18"/>
    <p:sldId id="299" r:id="rId19"/>
    <p:sldId id="293" r:id="rId20"/>
    <p:sldId id="298" r:id="rId21"/>
    <p:sldId id="267" r:id="rId22"/>
    <p:sldId id="265" r:id="rId2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0" d="100"/>
          <a:sy n="60" d="100"/>
        </p:scale>
        <p:origin x="-1428" y="-3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870CB-40EC-BB4F-91FA-BD468B50C19D}" type="datetimeFigureOut">
              <a:rPr lang="en-US" smtClean="0"/>
              <a:pPr/>
              <a:t>10/14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39B866-8EB8-D444-B10C-21E451A48A0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409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163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19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9B866-8EB8-D444-B10C-21E451A48A07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4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2.jpe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i4.fastpic.ru/big/2010/0524/a9/60ec752ac47abf5b4f5859ff309796a9.png" TargetMode="External"/><Relationship Id="rId13" Type="http://schemas.openxmlformats.org/officeDocument/2006/relationships/image" Target="../media/image42.jpe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7.jpeg"/><Relationship Id="rId12" Type="http://schemas.openxmlformats.org/officeDocument/2006/relationships/image" Target="../media/image4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6.jpeg"/><Relationship Id="rId11" Type="http://schemas.openxmlformats.org/officeDocument/2006/relationships/image" Target="../media/image40.gif"/><Relationship Id="rId5" Type="http://schemas.openxmlformats.org/officeDocument/2006/relationships/image" Target="../media/image35.gif"/><Relationship Id="rId10" Type="http://schemas.openxmlformats.org/officeDocument/2006/relationships/image" Target="../media/image39.jpeg"/><Relationship Id="rId4" Type="http://schemas.openxmlformats.org/officeDocument/2006/relationships/image" Target="../media/image2.jpeg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2.jpe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755576" y="4515390"/>
            <a:ext cx="7848872" cy="785818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latin typeface="Arial" pitchFamily="34" charset="0"/>
                <a:cs typeface="Arial" pitchFamily="34" charset="0"/>
              </a:rPr>
              <a:t>ИНФОРМАЦИОННАЯ БЕЗОПАСНОСТЬ </a:t>
            </a:r>
            <a:br>
              <a:rPr lang="ru-RU" sz="3200" b="1" dirty="0" smtClean="0">
                <a:latin typeface="Arial" pitchFamily="34" charset="0"/>
                <a:cs typeface="Arial" pitchFamily="34" charset="0"/>
              </a:rPr>
            </a:br>
            <a:r>
              <a:rPr lang="ru-RU" sz="3200" b="1" dirty="0" smtClean="0">
                <a:latin typeface="Arial" pitchFamily="34" charset="0"/>
                <a:cs typeface="Arial" pitchFamily="34" charset="0"/>
              </a:rPr>
              <a:t>И</a:t>
            </a:r>
            <a:br>
              <a:rPr lang="ru-RU" sz="3200" b="1" dirty="0" smtClean="0">
                <a:latin typeface="Arial" pitchFamily="34" charset="0"/>
                <a:cs typeface="Arial" pitchFamily="34" charset="0"/>
              </a:rPr>
            </a:br>
            <a:r>
              <a:rPr lang="ru-RU" sz="3200" b="1" dirty="0" smtClean="0">
                <a:latin typeface="Arial" pitchFamily="34" charset="0"/>
                <a:cs typeface="Arial" pitchFamily="34" charset="0"/>
              </a:rPr>
              <a:t>СОВРЕМЕННОЕ ПРЕДПРИЯТИЕ</a:t>
            </a:r>
            <a:endParaRPr lang="ru-RU" sz="3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Статьи расходов ИБ</a:t>
            </a:r>
            <a:endParaRPr lang="ru-RU" sz="2800" b="1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172072"/>
            <a:ext cx="4364203" cy="327315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220072" y="2333779"/>
            <a:ext cx="338437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000" b="1" dirty="0" smtClean="0"/>
              <a:t>СЗИ от НСД </a:t>
            </a:r>
            <a:endParaRPr lang="ru-RU" sz="2000" b="1" dirty="0"/>
          </a:p>
          <a:p>
            <a:pPr marL="285750" indent="-285750">
              <a:buFontTx/>
              <a:buChar char="-"/>
            </a:pPr>
            <a:r>
              <a:rPr lang="ru-RU" sz="2000" b="1" dirty="0" smtClean="0"/>
              <a:t>Антивирусы</a:t>
            </a:r>
            <a:endParaRPr lang="ru-RU" sz="2000" b="1" dirty="0" smtClean="0"/>
          </a:p>
          <a:p>
            <a:pPr marL="285750" indent="-285750">
              <a:buFontTx/>
              <a:buChar char="-"/>
            </a:pPr>
            <a:r>
              <a:rPr lang="ru-RU" sz="2000" b="1" dirty="0" smtClean="0"/>
              <a:t>МЭ</a:t>
            </a:r>
            <a:endParaRPr lang="ru-RU" sz="2000" b="1" dirty="0" smtClean="0"/>
          </a:p>
          <a:p>
            <a:pPr marL="285750" indent="-285750">
              <a:buFontTx/>
              <a:buChar char="-"/>
            </a:pPr>
            <a:r>
              <a:rPr lang="ru-RU" sz="2000" b="1" dirty="0" smtClean="0"/>
              <a:t>Аутентификация </a:t>
            </a:r>
            <a:r>
              <a:rPr lang="ru-RU" sz="2000" b="1" dirty="0" smtClean="0"/>
              <a:t>и идентификация</a:t>
            </a:r>
          </a:p>
          <a:p>
            <a:pPr marL="285750" indent="-285750">
              <a:buFontTx/>
              <a:buChar char="-"/>
            </a:pPr>
            <a:r>
              <a:rPr lang="en-US" sz="2000" b="1" dirty="0" smtClean="0"/>
              <a:t>IPS</a:t>
            </a:r>
            <a:endParaRPr lang="ru-RU" sz="2000" b="1" dirty="0" smtClean="0"/>
          </a:p>
          <a:p>
            <a:pPr marL="285750" indent="-285750">
              <a:buFontTx/>
              <a:buChar char="-"/>
            </a:pPr>
            <a:r>
              <a:rPr lang="ru-RU" sz="2000" b="1" dirty="0" smtClean="0"/>
              <a:t>Сканер безопасности</a:t>
            </a:r>
            <a:endParaRPr lang="ru-RU" sz="2000" b="1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5220072" y="4685074"/>
            <a:ext cx="3384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ОРГАНИЗАЦИОННЫЕ </a:t>
            </a:r>
            <a:r>
              <a:rPr lang="ru-RU" sz="2000" b="1" dirty="0" smtClean="0"/>
              <a:t>МЕРЫ</a:t>
            </a:r>
            <a:endParaRPr lang="ru-RU" sz="2000" b="1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5148064" y="1916832"/>
            <a:ext cx="3384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ТЕХНИЧЕСКИЕ  МЕРЫ</a:t>
            </a:r>
            <a:endParaRPr lang="ru-RU" sz="20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611560" y="6093253"/>
            <a:ext cx="8208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/>
              <a:t>АТТЕСТАЦИЯ и СЕРТИФИКАЦИЯ</a:t>
            </a:r>
            <a:endParaRPr lang="ru-RU" sz="3600" dirty="0" smtClean="0"/>
          </a:p>
        </p:txBody>
      </p:sp>
    </p:spTree>
    <p:extLst>
      <p:ext uri="{BB962C8B-B14F-4D97-AF65-F5344CB8AC3E}">
        <p14:creationId xmlns:p14="http://schemas.microsoft.com/office/powerpoint/2010/main" val="3224729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964488" cy="1143000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Профиль компании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7544" y="1844824"/>
            <a:ext cx="5256584" cy="4680520"/>
          </a:xfrm>
          <a:noFill/>
          <a:ln w="0">
            <a:noFill/>
          </a:ln>
        </p:spPr>
        <p:txBody>
          <a:bodyPr anchor="t">
            <a:noAutofit/>
          </a:bodyPr>
          <a:lstStyle/>
          <a:p>
            <a:pPr marL="358775" lvl="1" indent="-358775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Компания основана в 2001 г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.</a:t>
            </a:r>
            <a:r>
              <a:rPr lang="ru-RU" sz="18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marL="358775" lvl="1" indent="-358775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Самая динамично-развивающаяся компания российского ИТ-рынка</a:t>
            </a: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Оборот компании в 2010 г. составил </a:t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>22 млрд руб.</a:t>
            </a:r>
          </a:p>
          <a:p>
            <a:pPr marL="358775" lvl="1" indent="-358775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Входит в ТОП-10 крупнейших высокотехнологичных интеграторов РФ и СНГ</a:t>
            </a:r>
            <a:endParaRPr lang="ru-RU" sz="1800" dirty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Успешно реализовано более 2000 проектов (за год рост составил 25%)</a:t>
            </a:r>
          </a:p>
          <a:p>
            <a:pPr marL="355600" lvl="1" indent="-355600" defTabSz="355600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В штате компании работают более 1000 высококвалифицированных специалистов, обладающих сертификатами</a:t>
            </a: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355600" lvl="1" indent="-355600" defTabSz="355600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marL="268288" indent="-268288">
              <a:buClr>
                <a:srgbClr val="C00000"/>
              </a:buClr>
              <a:defRPr/>
            </a:pPr>
            <a:endParaRPr lang="ru-RU" sz="1000" dirty="0">
              <a:solidFill>
                <a:srgbClr val="0B3461"/>
              </a:solidFill>
              <a:latin typeface="Calibri" pitchFamily="34" charset="0"/>
            </a:endParaRPr>
          </a:p>
          <a:p>
            <a:pPr marL="268288" indent="-268288">
              <a:buClr>
                <a:srgbClr val="C00000"/>
              </a:buClr>
              <a:defRPr/>
            </a:pPr>
            <a:endParaRPr lang="ru-RU" sz="1000" dirty="0">
              <a:solidFill>
                <a:srgbClr val="0B3461"/>
              </a:solidFill>
              <a:latin typeface="Calibri" pitchFamily="34" charset="0"/>
            </a:endParaRPr>
          </a:p>
          <a:p>
            <a:pPr>
              <a:buClr>
                <a:srgbClr val="C00000"/>
              </a:buClr>
              <a:defRPr/>
            </a:pPr>
            <a:endParaRPr lang="ru-RU" sz="1000" dirty="0">
              <a:solidFill>
                <a:srgbClr val="0B3461"/>
              </a:solidFill>
              <a:latin typeface="Calibri" pitchFamily="34" charset="0"/>
            </a:endParaRPr>
          </a:p>
          <a:p>
            <a:pPr marL="355600" lvl="1" indent="-355600" defTabSz="355600">
              <a:lnSpc>
                <a:spcPct val="11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grayscl/>
          </a:blip>
          <a:srcRect/>
          <a:stretch>
            <a:fillRect/>
          </a:stretch>
        </p:blipFill>
        <p:spPr bwMode="auto">
          <a:xfrm>
            <a:off x="6516216" y="1844824"/>
            <a:ext cx="2123728" cy="4536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Портфель решений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39552" y="1988840"/>
            <a:ext cx="5616624" cy="4869160"/>
          </a:xfrm>
          <a:noFill/>
          <a:ln w="0">
            <a:noFill/>
          </a:ln>
        </p:spPr>
        <p:txBody>
          <a:bodyPr>
            <a:noAutofit/>
          </a:bodyPr>
          <a:lstStyle/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Т-КОНСАЛТИНГ</a:t>
            </a: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НФОРМАЦИОННЫЕ СИСТЕМЫ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ЕТИ И СИСТЕМЫ ПЕРЕДАЧИ ДАННЫХ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ИСТЕМЫ ХРАНЕНИЯ И ОБРАБОТКИ ДАННЫХ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НФОРМАЦИОННАЯ БЕЗОПАСНОСТЬ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ИСТЕМЫ УПРАВЛЕНИЯ И МОНИТОРИНГА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ИСТЕМЫ ГОЛОСОВОЙ И МУЛЬТИМЕДИЙНОЙ СВЯЗИ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НЖЕНЕРНЫЕ СИСТЕМЫ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РОМЫШЛЕННАЯ АВТОМАТИЗАЦИЯ</a:t>
            </a:r>
            <a:endParaRPr lang="en-US" sz="1600" b="1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Wingdings" pitchFamily="2" charset="2"/>
              <a:buChar char="§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ЕРВИС И ПРОФЕССИОНАЛЬНЫЕ УСЛУГИ</a:t>
            </a: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40000"/>
              <a:buFont typeface="Arial" pitchFamily="34" charset="0"/>
              <a:buChar char="•"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C:\Documents and Settings\RFilonenko\Desktop\clipart\business\fotolia_1408006_72.jpg"/>
          <p:cNvPicPr>
            <a:picLocks noChangeAspect="1" noChangeArrowheads="1"/>
          </p:cNvPicPr>
          <p:nvPr/>
        </p:nvPicPr>
        <p:blipFill>
          <a:blip r:embed="rId4" cstate="print">
            <a:grayscl/>
            <a:lum bright="-10000"/>
          </a:blip>
          <a:srcRect/>
          <a:stretch>
            <a:fillRect/>
          </a:stretch>
        </p:blipFill>
        <p:spPr bwMode="auto">
          <a:xfrm flipH="1">
            <a:off x="6732240" y="1916832"/>
            <a:ext cx="2160240" cy="4392488"/>
          </a:xfrm>
          <a:prstGeom prst="rect">
            <a:avLst/>
          </a:prstGeom>
          <a:noFill/>
          <a:effectLst/>
        </p:spPr>
      </p:pic>
    </p:spTree>
    <p:extLst>
      <p:ext uri="{BB962C8B-B14F-4D97-AF65-F5344CB8AC3E}">
        <p14:creationId xmlns:p14="http://schemas.microsoft.com/office/powerpoint/2010/main" val="83915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Портфель решений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1520" y="1944216"/>
            <a:ext cx="6264696" cy="5013176"/>
          </a:xfrm>
          <a:noFill/>
          <a:ln w="0">
            <a:noFill/>
          </a:ln>
        </p:spPr>
        <p:txBody>
          <a:bodyPr>
            <a:noAutofit/>
          </a:bodyPr>
          <a:lstStyle/>
          <a:p>
            <a:pPr marL="0" lvl="1" indent="0">
              <a:spcAft>
                <a:spcPts val="600"/>
              </a:spcAft>
              <a:buNone/>
            </a:pPr>
            <a:r>
              <a:rPr lang="ru-RU" sz="24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ИНФОРМАЦИОННАЯ</a:t>
            </a:r>
            <a:r>
              <a:rPr lang="en-US" sz="24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БЕЗОПАСНОСТЬ</a:t>
            </a:r>
            <a:endParaRPr lang="en-US" sz="2400" b="1" dirty="0" smtClean="0">
              <a:solidFill>
                <a:srgbClr val="F58220"/>
              </a:solidFill>
              <a:latin typeface="Arial" pitchFamily="34" charset="0"/>
              <a:cs typeface="Arial" pitchFamily="34" charset="0"/>
            </a:endParaRPr>
          </a:p>
          <a:p>
            <a:pPr marL="0" lvl="1" indent="0">
              <a:spcAft>
                <a:spcPts val="600"/>
              </a:spcAft>
              <a:buNone/>
            </a:pPr>
            <a:endParaRPr lang="ru-RU" sz="2400" b="1" dirty="0">
              <a:solidFill>
                <a:srgbClr val="F58220"/>
              </a:solidFill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Оказание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услуг в области подготовки и подтверждения соответствия нормативным требованиям по информационной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безопасности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Оказание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услуг в области создания систем\подсистем менеджмента информационной безопасности и обеспечения непрерывности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бизнеса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Проектирование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 внедрение систем\подсистем обеспечения информационной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безопасности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Проектирование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 внедрение услуг информационной безопасности в интересах клиентов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заказчика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Аудит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нформационной безопасности по требованиям заказчика</a:t>
            </a:r>
          </a:p>
          <a:p>
            <a:pPr marL="358775" lvl="1" indent="-358775">
              <a:spcAft>
                <a:spcPts val="600"/>
              </a:spcAft>
              <a:buNone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grayscl/>
            <a:lum contrast="-20000"/>
          </a:blip>
          <a:srcRect/>
          <a:stretch>
            <a:fillRect/>
          </a:stretch>
        </p:blipFill>
        <p:spPr bwMode="auto">
          <a:xfrm rot="5400000">
            <a:off x="5644291" y="3061131"/>
            <a:ext cx="4536506" cy="210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01235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казчики компании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804248" y="1735578"/>
            <a:ext cx="2232248" cy="4357718"/>
          </a:xfrm>
          <a:prstGeom prst="roundRect">
            <a:avLst>
              <a:gd name="adj" fmla="val 5144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72" descr="conf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48264" y="1700808"/>
            <a:ext cx="1316718" cy="576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16" descr="e1158_ruspos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60432" y="1700808"/>
            <a:ext cx="457754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22" descr="Счетная палата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15541" y="2458126"/>
            <a:ext cx="436779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10" descr="rtcomm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72400" y="5301208"/>
            <a:ext cx="737311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15" descr="banner_telecom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76254" y="5877272"/>
            <a:ext cx="864098" cy="432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20272" y="5241202"/>
            <a:ext cx="720080" cy="4200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746473" y="2458126"/>
            <a:ext cx="425927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72" descr="conf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876256" y="4077072"/>
            <a:ext cx="2160240" cy="2576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307880" y="2458126"/>
            <a:ext cx="728616" cy="5202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280920" y="4509120"/>
            <a:ext cx="683568" cy="5129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020272" y="4509120"/>
            <a:ext cx="432048" cy="548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622305" y="4437112"/>
            <a:ext cx="622103" cy="700418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606488" y="3322222"/>
            <a:ext cx="576064" cy="576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1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74680" y="3322222"/>
            <a:ext cx="661816" cy="576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Picture 15"/>
          <p:cNvPicPr>
            <a:picLocks noChangeAspect="1" noChangeArrowheads="1"/>
          </p:cNvPicPr>
          <p:nvPr/>
        </p:nvPicPr>
        <p:blipFill>
          <a:blip r:embed="rId18" cstate="print"/>
          <a:stretch>
            <a:fillRect/>
          </a:stretch>
        </p:blipFill>
        <p:spPr bwMode="auto">
          <a:xfrm>
            <a:off x="6992288" y="3106198"/>
            <a:ext cx="532040" cy="793904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Содержимое 2"/>
          <p:cNvSpPr>
            <a:spLocks noGrp="1"/>
          </p:cNvSpPr>
          <p:nvPr>
            <p:ph idx="1"/>
          </p:nvPr>
        </p:nvSpPr>
        <p:spPr>
          <a:xfrm>
            <a:off x="428596" y="2163637"/>
            <a:ext cx="6231636" cy="3857651"/>
          </a:xfrm>
          <a:solidFill>
            <a:schemeClr val="bg1"/>
          </a:solidFill>
        </p:spPr>
        <p:txBody>
          <a:bodyPr>
            <a:normAutofit fontScale="92500" lnSpcReduction="20000"/>
          </a:bodyPr>
          <a:lstStyle/>
          <a:p>
            <a:pPr marL="358775" lvl="1" indent="-358775">
              <a:spcAft>
                <a:spcPts val="600"/>
              </a:spcAft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sz="1900" dirty="0" smtClean="0">
                <a:latin typeface="Arial" pitchFamily="34" charset="0"/>
                <a:cs typeface="Arial" pitchFamily="34" charset="0"/>
              </a:rPr>
              <a:t>Нам доверяют более 1000 государственных организаций и крупнейших компаний России:</a:t>
            </a: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900" b="1" dirty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Государственный сектор</a:t>
            </a:r>
          </a:p>
          <a:p>
            <a:pPr marL="358775" lvl="1" indent="-358775">
              <a:spcAft>
                <a:spcPts val="600"/>
              </a:spcAft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Высший 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Арбитражный суд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РФ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Минкомсвязь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 России, </a:t>
            </a:r>
            <a:r>
              <a:rPr lang="ru-RU" sz="1700" dirty="0" err="1">
                <a:latin typeface="Arial" pitchFamily="34" charset="0"/>
                <a:cs typeface="Arial" pitchFamily="34" charset="0"/>
              </a:rPr>
              <a:t>Минспорт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 России,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Пенсионный фонд, Правительство Москвы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Росимущество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ФСБ, Федеральная таможенная служба РФ, Федеральная налоговая служба РФ, ФСО</a:t>
            </a: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9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Операторы связи</a:t>
            </a:r>
          </a:p>
          <a:p>
            <a:pPr marL="358775" lvl="1" indent="-358775">
              <a:spcAft>
                <a:spcPts val="600"/>
              </a:spcAft>
              <a:buNone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ВымпелКом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Казахтелеком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Комкор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Мегафон, МТС, Объединенный Ростелеком</a:t>
            </a: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9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Корпоративный рынок</a:t>
            </a:r>
          </a:p>
          <a:p>
            <a:pPr marL="358775" lvl="1" indent="-358775">
              <a:spcAft>
                <a:spcPts val="600"/>
              </a:spcAft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Абсолют Банк, Банк ТРАСТ, Внешторгбанк, Газпромбанк, Лукойл, РЖД, РУСАЛ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Росатом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700" dirty="0" err="1" smtClean="0">
                <a:latin typeface="Arial" pitchFamily="34" charset="0"/>
                <a:cs typeface="Arial" pitchFamily="34" charset="0"/>
              </a:rPr>
              <a:t>Роснано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Сбербанк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России, ФСК 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ЕЭС,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700" dirty="0">
                <a:latin typeface="Arial" pitchFamily="34" charset="0"/>
                <a:cs typeface="Arial" pitchFamily="34" charset="0"/>
              </a:rPr>
              <a:t>ЦБ РФ </a:t>
            </a:r>
            <a:r>
              <a:rPr lang="ru-RU" sz="1700" dirty="0" smtClean="0">
                <a:latin typeface="Arial" pitchFamily="34" charset="0"/>
                <a:cs typeface="Arial" pitchFamily="34" charset="0"/>
              </a:rPr>
              <a:t>и многие другие</a:t>
            </a:r>
          </a:p>
          <a:p>
            <a:pPr>
              <a:buNone/>
            </a:pP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4368" y="6030137"/>
            <a:ext cx="1080120" cy="27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008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Партнер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39552" y="1772816"/>
            <a:ext cx="6696744" cy="4832092"/>
          </a:xfrm>
          <a:prstGeom prst="rect">
            <a:avLst/>
          </a:prstGeom>
        </p:spPr>
        <p:txBody>
          <a:bodyPr wrap="square" numCol="3">
            <a:spAutoFit/>
          </a:bodyPr>
          <a:lstStyle/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BB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CME Packet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DVA Optical Networking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laddin R.D.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lcatel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mdoc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PC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rbor Network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rcSight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Arri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Group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VAYA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xiom System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BMC Software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BroadSoft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BSI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heck Point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Ciena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itrix System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Comdasys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Cosmocom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Covergence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Dell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EATON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EMC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ECI Telecom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Ekahau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Emerson Network Power  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gbo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Datacomp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HD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HP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Huawai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IBM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Iconics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Infinera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InfoPrint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InfoVista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InfoWatch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Juniper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ru-RU" sz="1400" dirty="0" smtClean="0">
                <a:latin typeface="Arial" pitchFamily="34" charset="0"/>
                <a:cs typeface="Arial" pitchFamily="34" charset="0"/>
              </a:rPr>
              <a:t>Лаборатория Касперского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Keymile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Lampertz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Liebert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LifeSize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NetApp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MetaSolv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Microsoft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Microstrategy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OPNET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Oracle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Packet Design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Polycom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Redback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Network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Rit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Technologies Ltd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Rittal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Reihle&amp;De-Massari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SAP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Schneider Electric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Sonus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Networks 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S-Terra 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Symantec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Systimax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Trend Micro 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Veraz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networks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VMware</a:t>
            </a:r>
          </a:p>
          <a:p>
            <a:pPr>
              <a:spcBef>
                <a:spcPts val="0"/>
              </a:spcBef>
              <a:buFont typeface="Wingdings 2" pitchFamily="18" charset="2"/>
              <a:buNone/>
            </a:pP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Wago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 descr="http://www.e-graduate.ru/PublishingFiles/Mailing/logo_microsoft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52319" y="5373216"/>
            <a:ext cx="1440161" cy="576064"/>
          </a:xfrm>
          <a:prstGeom prst="rect">
            <a:avLst/>
          </a:prstGeom>
          <a:noFill/>
        </p:spPr>
      </p:pic>
      <p:pic>
        <p:nvPicPr>
          <p:cNvPr id="5" name="Picture 2" descr="http://www.kommersant.ru/factbook/handlers/picture.ashx?objectid=59877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16216" y="4509120"/>
            <a:ext cx="1728192" cy="1296144"/>
          </a:xfrm>
          <a:prstGeom prst="rect">
            <a:avLst/>
          </a:prstGeom>
          <a:noFill/>
        </p:spPr>
      </p:pic>
      <p:pic>
        <p:nvPicPr>
          <p:cNvPr id="6" name="Picture 4" descr="http://namedropping.files.wordpress.com/2010/01/huawei-logo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100392" y="2564904"/>
            <a:ext cx="648072" cy="648073"/>
          </a:xfrm>
          <a:prstGeom prst="rect">
            <a:avLst/>
          </a:prstGeom>
          <a:noFill/>
        </p:spPr>
      </p:pic>
      <p:pic>
        <p:nvPicPr>
          <p:cNvPr id="11" name="Picture 6" descr="Картинка 4 из 362">
            <a:hlinkClick r:id="rId8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68344" y="3429000"/>
            <a:ext cx="1401388" cy="492379"/>
          </a:xfrm>
          <a:prstGeom prst="rect">
            <a:avLst/>
          </a:prstGeom>
          <a:noFill/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2722" y="4144951"/>
            <a:ext cx="1425742" cy="65220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7057" y="1700808"/>
            <a:ext cx="1737391" cy="67179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2708920"/>
            <a:ext cx="1038265" cy="98183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131" y="6028528"/>
            <a:ext cx="1532361" cy="494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47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Лиценз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-36512" y="1700808"/>
            <a:ext cx="7200800" cy="4536504"/>
          </a:xfrm>
          <a:noFill/>
          <a:ln w="0">
            <a:noFill/>
          </a:ln>
        </p:spPr>
        <p:txBody>
          <a:bodyPr>
            <a:noAutofit/>
          </a:bodyPr>
          <a:lstStyle/>
          <a:p>
            <a:pPr marL="0" lvl="1" indent="0">
              <a:spcAft>
                <a:spcPts val="600"/>
              </a:spcAft>
              <a:buNone/>
            </a:pPr>
            <a:r>
              <a:rPr lang="ru-RU" sz="20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ЛИЦЕНЗИИ ЦЕНТРА ПО ЛИЦЕНЗИРОВАНИЮ, СЕРТИФИКАЦИИ И ЗАЩИТЕ ГОСУДАРСТВЕННОЙ ТАЙНЫ ФСБ РОССИИ: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осуществление работ, связанных с использованием сведений, составляющих государственную тайну</a:t>
            </a:r>
            <a:r>
              <a:rPr lang="en-US" sz="1500" dirty="0">
                <a:latin typeface="Arial" pitchFamily="34" charset="0"/>
                <a:cs typeface="Arial" pitchFamily="34" charset="0"/>
              </a:rPr>
              <a:t>;</a:t>
            </a:r>
            <a:endParaRPr lang="ru-RU" sz="15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разработку и производство шифровальных (криптографических) средств, защищенных с использованием шифровальных (криптографических) средств информационных и телекоммуникационных систем;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 smtClean="0">
                <a:latin typeface="Arial" pitchFamily="34" charset="0"/>
                <a:cs typeface="Arial" pitchFamily="34" charset="0"/>
              </a:rPr>
              <a:t>техническое обслуживание шифровальных (криптографических) средств;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>
                <a:latin typeface="Arial" pitchFamily="34" charset="0"/>
                <a:cs typeface="Arial" pitchFamily="34" charset="0"/>
              </a:rPr>
              <a:t>распространение шифровальных (криптографических) средств;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>
                <a:latin typeface="Arial" pitchFamily="34" charset="0"/>
                <a:cs typeface="Arial" pitchFamily="34" charset="0"/>
              </a:rPr>
              <a:t>предоставление услуг в области шифрования информации;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>
                <a:latin typeface="Arial" pitchFamily="34" charset="0"/>
                <a:cs typeface="Arial" pitchFamily="34" charset="0"/>
              </a:rPr>
              <a:t>осуществление работ, связанных с созданием средств защиты информации, содержащей сведения, составляющие государственную тайну;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r>
              <a:rPr lang="ru-RU" sz="1500" dirty="0">
                <a:latin typeface="Arial" pitchFamily="34" charset="0"/>
                <a:cs typeface="Arial" pitchFamily="34" charset="0"/>
              </a:rPr>
              <a:t>осуществление мероприятий и (или) оказание услуг в области защиты государственной тайны. </a:t>
            </a:r>
          </a:p>
          <a:p>
            <a:pPr marL="358775" lvl="1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Font typeface="Wingdings" pitchFamily="2" charset="2"/>
              <a:buChar char="§"/>
            </a:pPr>
            <a:endParaRPr lang="ru-RU" sz="16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grayscl/>
            <a:lum bright="-10000"/>
          </a:blip>
          <a:srcRect/>
          <a:stretch>
            <a:fillRect/>
          </a:stretch>
        </p:blipFill>
        <p:spPr bwMode="auto">
          <a:xfrm flipH="1">
            <a:off x="7092280" y="1916832"/>
            <a:ext cx="1800200" cy="4464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1746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Лиценз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1916832"/>
            <a:ext cx="6336704" cy="4464496"/>
          </a:xfrm>
          <a:noFill/>
          <a:ln w="0">
            <a:noFill/>
          </a:ln>
        </p:spPr>
        <p:txBody>
          <a:bodyPr>
            <a:normAutofit lnSpcReduction="10000"/>
          </a:bodyPr>
          <a:lstStyle/>
          <a:p>
            <a:pPr marL="0" lvl="1" indent="0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None/>
            </a:pPr>
            <a:r>
              <a:rPr lang="ru-RU" sz="20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Лицензии </a:t>
            </a:r>
            <a:r>
              <a:rPr lang="ru-RU" sz="2000" b="1" dirty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Федеральной службы по техническому и экспортному контролю</a:t>
            </a:r>
            <a:r>
              <a:rPr lang="ru-RU" sz="1900" dirty="0" smtClean="0">
                <a:latin typeface="Arial" pitchFamily="34" charset="0"/>
                <a:cs typeface="Arial" pitchFamily="34" charset="0"/>
              </a:rPr>
              <a:t> на деятельность по:</a:t>
            </a:r>
          </a:p>
          <a:p>
            <a:pPr marL="758825" lvl="2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защите конфиденциальной информации</a:t>
            </a:r>
          </a:p>
          <a:p>
            <a:pPr marL="758825" lvl="2" indent="-358775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разработке и (или) производству средств защиты конфиденциальной информации</a:t>
            </a:r>
          </a:p>
          <a:p>
            <a:pPr marL="0" lvl="1" indent="0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None/>
            </a:pPr>
            <a:r>
              <a:rPr lang="ru-RU" sz="2000" b="1" dirty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Л</a:t>
            </a:r>
            <a:r>
              <a:rPr lang="ru-RU" sz="20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ицензия </a:t>
            </a:r>
            <a:r>
              <a:rPr lang="ru-RU" sz="2000" b="1" dirty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МЧС России </a:t>
            </a:r>
            <a:r>
              <a:rPr lang="ru-RU" sz="1900" dirty="0" smtClean="0">
                <a:latin typeface="Arial" pitchFamily="34" charset="0"/>
                <a:cs typeface="Arial" pitchFamily="34" charset="0"/>
              </a:rPr>
              <a:t>на деятельность по производству работ по монтажу, ремонту и обслуживанию средств обеспечения пожарной безопасности зданий и сооружений</a:t>
            </a:r>
            <a:r>
              <a:rPr lang="ru-RU" sz="1900" dirty="0">
                <a:latin typeface="Arial" pitchFamily="34" charset="0"/>
                <a:cs typeface="Arial" pitchFamily="34" charset="0"/>
              </a:rPr>
              <a:t>;</a:t>
            </a:r>
            <a:endParaRPr lang="ru-RU" sz="1900" dirty="0" smtClean="0">
              <a:latin typeface="Arial" pitchFamily="34" charset="0"/>
              <a:cs typeface="Arial" pitchFamily="34" charset="0"/>
            </a:endParaRPr>
          </a:p>
          <a:p>
            <a:pPr marL="0" lvl="1" indent="0">
              <a:spcAft>
                <a:spcPts val="600"/>
              </a:spcAft>
              <a:buClr>
                <a:schemeClr val="accent6">
                  <a:lumMod val="75000"/>
                </a:schemeClr>
              </a:buClr>
              <a:buSzPct val="140000"/>
              <a:buNone/>
            </a:pPr>
            <a:r>
              <a:rPr lang="ru-RU" sz="2000" b="1" dirty="0" smtClean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Свидетельства </a:t>
            </a:r>
            <a:r>
              <a:rPr lang="ru-RU" sz="2000" b="1" dirty="0">
                <a:solidFill>
                  <a:srgbClr val="F58220"/>
                </a:solidFill>
                <a:latin typeface="Arial" pitchFamily="34" charset="0"/>
                <a:cs typeface="Arial" pitchFamily="34" charset="0"/>
              </a:rPr>
              <a:t>СРО НП «СтройСвязьТелеком» и «ПроектСвязьТелеком» о допуске к работам, которые оказывают влияние на безопасность объектов капитального строительства</a:t>
            </a: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358775" lvl="1" indent="-358775">
              <a:spcAft>
                <a:spcPts val="600"/>
              </a:spcAft>
              <a:buFont typeface="Arial" pitchFamily="34" charset="0"/>
              <a:buChar char="•"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 descr="C:\Documents and Settings\RFilonenko\Desktop\clipart\business\сервисные продукты\Depositphotos_1148698_XXL.jpg"/>
          <p:cNvPicPr>
            <a:picLocks noChangeAspect="1" noChangeArrowheads="1"/>
          </p:cNvPicPr>
          <p:nvPr/>
        </p:nvPicPr>
        <p:blipFill>
          <a:blip r:embed="rId4" cstate="print">
            <a:grayscl/>
          </a:blip>
          <a:srcRect/>
          <a:stretch>
            <a:fillRect/>
          </a:stretch>
        </p:blipFill>
        <p:spPr bwMode="auto">
          <a:xfrm>
            <a:off x="6898088" y="1865860"/>
            <a:ext cx="2066400" cy="45154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6412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2804290" y="-243408"/>
            <a:ext cx="6160198" cy="14127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r">
              <a:spcBef>
                <a:spcPct val="0"/>
              </a:spcBef>
            </a:pPr>
            <a:r>
              <a:rPr lang="ru-RU" sz="2800" b="1" dirty="0" smtClean="0">
                <a:latin typeface="Arial" pitchFamily="34" charset="0"/>
                <a:ea typeface="+mj-ea"/>
                <a:cs typeface="Arial" pitchFamily="34" charset="0"/>
              </a:rPr>
              <a:t>Региональное присутствие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3635896" y="1556792"/>
            <a:ext cx="5112568" cy="792088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0" marR="0" lvl="1" indent="0" defTabSz="914400" rtl="0" eaLnBrk="1" fontAlgn="auto" latinLnBrk="0" hangingPunct="1">
              <a:lnSpc>
                <a:spcPts val="24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Филиалы в крупнейших городах РФ</a:t>
            </a:r>
            <a:r>
              <a:rPr kumimoji="0" lang="ru-RU" sz="2400" i="0" u="none" strike="noStrike" kern="1200" cap="none" spc="0" normalizeH="0" noProof="0" dirty="0" smtClean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rgbClr val="F5822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и странах СНГ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380701" y="2303487"/>
            <a:ext cx="8439771" cy="3933825"/>
            <a:chOff x="380701" y="2303487"/>
            <a:chExt cx="8439771" cy="3933825"/>
          </a:xfrm>
        </p:grpSpPr>
        <p:pic>
          <p:nvPicPr>
            <p:cNvPr id="5" name="Picture 2" descr="C:\Documents and Settings\RFilonenko\Desktop\Буфер\карта_по_регионам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84757" y="2303487"/>
              <a:ext cx="7620000" cy="39338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" name="TextBox 51"/>
            <p:cNvSpPr txBox="1">
              <a:spLocks noChangeArrowheads="1"/>
            </p:cNvSpPr>
            <p:nvPr/>
          </p:nvSpPr>
          <p:spPr bwMode="auto">
            <a:xfrm>
              <a:off x="1294021" y="4293096"/>
              <a:ext cx="133376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Краснодар</a:t>
              </a:r>
            </a:p>
          </p:txBody>
        </p:sp>
        <p:sp>
          <p:nvSpPr>
            <p:cNvPr id="7" name="TextBox 52"/>
            <p:cNvSpPr txBox="1">
              <a:spLocks noChangeArrowheads="1"/>
            </p:cNvSpPr>
            <p:nvPr/>
          </p:nvSpPr>
          <p:spPr bwMode="auto">
            <a:xfrm>
              <a:off x="611560" y="2708920"/>
              <a:ext cx="199612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Санкт-Петербург</a:t>
              </a:r>
            </a:p>
          </p:txBody>
        </p:sp>
        <p:sp>
          <p:nvSpPr>
            <p:cNvPr id="8" name="TextBox 53"/>
            <p:cNvSpPr txBox="1">
              <a:spLocks noChangeArrowheads="1"/>
            </p:cNvSpPr>
            <p:nvPr/>
          </p:nvSpPr>
          <p:spPr bwMode="auto">
            <a:xfrm>
              <a:off x="1653593" y="3645024"/>
              <a:ext cx="111883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2000" b="1" dirty="0">
                  <a:latin typeface="Arial" pitchFamily="34" charset="0"/>
                  <a:cs typeface="Arial" pitchFamily="34" charset="0"/>
                </a:rPr>
                <a:t>Москва</a:t>
              </a:r>
            </a:p>
          </p:txBody>
        </p:sp>
        <p:sp>
          <p:nvSpPr>
            <p:cNvPr id="9" name="TextBox 54"/>
            <p:cNvSpPr txBox="1">
              <a:spLocks noChangeArrowheads="1"/>
            </p:cNvSpPr>
            <p:nvPr/>
          </p:nvSpPr>
          <p:spPr bwMode="auto">
            <a:xfrm>
              <a:off x="2987824" y="4047414"/>
              <a:ext cx="2094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Нижний Новгород</a:t>
              </a:r>
            </a:p>
          </p:txBody>
        </p:sp>
        <p:sp>
          <p:nvSpPr>
            <p:cNvPr id="10" name="TextBox 55"/>
            <p:cNvSpPr txBox="1">
              <a:spLocks noChangeArrowheads="1"/>
            </p:cNvSpPr>
            <p:nvPr/>
          </p:nvSpPr>
          <p:spPr bwMode="auto">
            <a:xfrm>
              <a:off x="3870307" y="4305730"/>
              <a:ext cx="163641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Екатеринбург</a:t>
              </a:r>
            </a:p>
          </p:txBody>
        </p:sp>
        <p:sp>
          <p:nvSpPr>
            <p:cNvPr id="11" name="TextBox 56"/>
            <p:cNvSpPr txBox="1">
              <a:spLocks noChangeArrowheads="1"/>
            </p:cNvSpPr>
            <p:nvPr/>
          </p:nvSpPr>
          <p:spPr bwMode="auto">
            <a:xfrm>
              <a:off x="4413149" y="4797152"/>
              <a:ext cx="157671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Новосибирск</a:t>
              </a:r>
            </a:p>
          </p:txBody>
        </p:sp>
        <p:sp>
          <p:nvSpPr>
            <p:cNvPr id="12" name="TextBox 57"/>
            <p:cNvSpPr txBox="1">
              <a:spLocks noChangeArrowheads="1"/>
            </p:cNvSpPr>
            <p:nvPr/>
          </p:nvSpPr>
          <p:spPr bwMode="auto">
            <a:xfrm>
              <a:off x="3039836" y="4949794"/>
              <a:ext cx="102758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 err="1">
                  <a:latin typeface="Arial" pitchFamily="34" charset="0"/>
                  <a:cs typeface="Arial" pitchFamily="34" charset="0"/>
                </a:rPr>
                <a:t>Алматы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Box 58"/>
            <p:cNvSpPr txBox="1">
              <a:spLocks noChangeArrowheads="1"/>
            </p:cNvSpPr>
            <p:nvPr/>
          </p:nvSpPr>
          <p:spPr bwMode="auto">
            <a:xfrm>
              <a:off x="2468933" y="5517232"/>
              <a:ext cx="109536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Ташкент</a:t>
              </a:r>
            </a:p>
          </p:txBody>
        </p:sp>
        <p:sp>
          <p:nvSpPr>
            <p:cNvPr id="14" name="TextBox 59"/>
            <p:cNvSpPr txBox="1">
              <a:spLocks noChangeArrowheads="1"/>
            </p:cNvSpPr>
            <p:nvPr/>
          </p:nvSpPr>
          <p:spPr bwMode="auto">
            <a:xfrm>
              <a:off x="7259147" y="5322474"/>
              <a:ext cx="156132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>
                  <a:latin typeface="Arial" pitchFamily="34" charset="0"/>
                  <a:cs typeface="Arial" pitchFamily="34" charset="0"/>
                </a:rPr>
                <a:t>Владивосток</a:t>
              </a:r>
            </a:p>
          </p:txBody>
        </p:sp>
        <p:sp>
          <p:nvSpPr>
            <p:cNvPr id="15" name="TextBox 51"/>
            <p:cNvSpPr txBox="1">
              <a:spLocks noChangeArrowheads="1"/>
            </p:cNvSpPr>
            <p:nvPr/>
          </p:nvSpPr>
          <p:spPr bwMode="auto">
            <a:xfrm>
              <a:off x="380701" y="4365104"/>
              <a:ext cx="72301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dirty="0" smtClean="0">
                  <a:latin typeface="Arial" pitchFamily="34" charset="0"/>
                  <a:cs typeface="Arial" pitchFamily="34" charset="0"/>
                </a:rPr>
                <a:t>Сочи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Равнобедренный треугольник 15"/>
            <p:cNvSpPr/>
            <p:nvPr/>
          </p:nvSpPr>
          <p:spPr>
            <a:xfrm flipH="1" flipV="1">
              <a:off x="2540941" y="4005064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Равнобедренный треугольник 16"/>
            <p:cNvSpPr/>
            <p:nvPr/>
          </p:nvSpPr>
          <p:spPr>
            <a:xfrm flipH="1" flipV="1">
              <a:off x="2267744" y="3068960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Равнобедренный треугольник 17"/>
            <p:cNvSpPr/>
            <p:nvPr/>
          </p:nvSpPr>
          <p:spPr>
            <a:xfrm flipH="1" flipV="1">
              <a:off x="3065877" y="4365104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Равнобедренный треугольник 18"/>
            <p:cNvSpPr/>
            <p:nvPr/>
          </p:nvSpPr>
          <p:spPr>
            <a:xfrm flipH="1" flipV="1">
              <a:off x="3909093" y="4653136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Равнобедренный треугольник 19"/>
            <p:cNvSpPr/>
            <p:nvPr/>
          </p:nvSpPr>
          <p:spPr>
            <a:xfrm flipH="1" flipV="1">
              <a:off x="4557165" y="5157192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Равнобедренный треугольник 20"/>
            <p:cNvSpPr/>
            <p:nvPr/>
          </p:nvSpPr>
          <p:spPr>
            <a:xfrm flipH="1" flipV="1">
              <a:off x="2540941" y="5877272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Равнобедренный треугольник 21"/>
            <p:cNvSpPr/>
            <p:nvPr/>
          </p:nvSpPr>
          <p:spPr>
            <a:xfrm flipH="1" flipV="1">
              <a:off x="3117005" y="5301208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Равнобедренный треугольник 22"/>
            <p:cNvSpPr/>
            <p:nvPr/>
          </p:nvSpPr>
          <p:spPr>
            <a:xfrm flipH="1" flipV="1">
              <a:off x="1187624" y="4437112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Равнобедренный треугольник 23"/>
            <p:cNvSpPr/>
            <p:nvPr/>
          </p:nvSpPr>
          <p:spPr>
            <a:xfrm flipH="1" flipV="1">
              <a:off x="884757" y="4365104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Равнобедренный треугольник 24"/>
            <p:cNvSpPr/>
            <p:nvPr/>
          </p:nvSpPr>
          <p:spPr>
            <a:xfrm flipH="1" flipV="1">
              <a:off x="7365477" y="5661248"/>
              <a:ext cx="144016" cy="72008"/>
            </a:xfrm>
            <a:prstGeom prst="triangle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C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726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878904" y="1785926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b="1" dirty="0" smtClean="0"/>
              <a:t>Благодарим за внимание</a:t>
            </a:r>
            <a:endParaRPr lang="ru-RU" sz="3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Три кита ИБ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043608" y="2058798"/>
            <a:ext cx="3960440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1331640" y="2290405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ЦЕЛОСТНОСТЬ</a:t>
            </a:r>
            <a:endParaRPr lang="ru-RU" sz="2400" b="1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1043608" y="3429000"/>
            <a:ext cx="3960440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1043608" y="3660607"/>
            <a:ext cx="3960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КОНФИДЕНЦИАЛЬНОСТЬ</a:t>
            </a:r>
            <a:endParaRPr lang="ru-RU" sz="2400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1043608" y="4797152"/>
            <a:ext cx="3960440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1331640" y="5028759"/>
            <a:ext cx="33843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ДОСТУПНОСТЬ</a:t>
            </a:r>
            <a:endParaRPr lang="ru-RU" sz="2400" b="1" dirty="0"/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1686578"/>
            <a:ext cx="2787408" cy="469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9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Направления ИБ  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44609" y="2348880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544609" y="2564904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ЗАЩИТА</a:t>
            </a:r>
            <a:endParaRPr lang="ru-RU" sz="2400" b="1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539552" y="5058308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544609" y="5274332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УПРАВЛЕНИЕ</a:t>
            </a:r>
            <a:endParaRPr lang="ru-RU" sz="2400" b="1" dirty="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424929" y="1578238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3424929" y="1723124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Требования законодательства </a:t>
            </a:r>
            <a:endParaRPr lang="ru-RU" b="1" dirty="0"/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3424929" y="2996952"/>
            <a:ext cx="2232248" cy="15841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TextBox 50"/>
          <p:cNvSpPr txBox="1"/>
          <p:nvPr/>
        </p:nvSpPr>
        <p:spPr>
          <a:xfrm>
            <a:off x="3424929" y="3164775"/>
            <a:ext cx="22322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Требования</a:t>
            </a:r>
          </a:p>
          <a:p>
            <a:pPr algn="ctr"/>
            <a:r>
              <a:rPr lang="ru-RU" b="1" dirty="0" smtClean="0"/>
              <a:t>=</a:t>
            </a:r>
          </a:p>
          <a:p>
            <a:pPr algn="ctr"/>
            <a:r>
              <a:rPr lang="ru-RU" b="1" dirty="0" smtClean="0"/>
              <a:t>деятельность компании </a:t>
            </a:r>
            <a:endParaRPr lang="ru-RU" b="1" dirty="0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6305249" y="1484784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/>
          <p:cNvSpPr txBox="1"/>
          <p:nvPr/>
        </p:nvSpPr>
        <p:spPr>
          <a:xfrm>
            <a:off x="6305249" y="1629670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Непрерывность бизнеса</a:t>
            </a:r>
            <a:endParaRPr lang="ru-RU" b="1" dirty="0"/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6305249" y="2564904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/>
          <p:cNvSpPr txBox="1"/>
          <p:nvPr/>
        </p:nvSpPr>
        <p:spPr>
          <a:xfrm>
            <a:off x="6305249" y="2709790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Защита от мошенничества</a:t>
            </a:r>
            <a:endParaRPr lang="ru-RU" b="1" dirty="0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6305249" y="3645024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6305249" y="3789910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редотвращение утечек</a:t>
            </a:r>
            <a:endParaRPr lang="ru-RU" b="1" dirty="0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6305249" y="4734272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6305249" y="4879158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Один раз на длительный период</a:t>
            </a:r>
            <a:endParaRPr lang="ru-RU" b="1" dirty="0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6305249" y="5805264"/>
            <a:ext cx="2232248" cy="93610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/>
          <p:cNvSpPr txBox="1"/>
          <p:nvPr/>
        </p:nvSpPr>
        <p:spPr>
          <a:xfrm>
            <a:off x="6305249" y="5950150"/>
            <a:ext cx="22322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Динамичная система</a:t>
            </a:r>
            <a:endParaRPr lang="ru-RU" b="1" dirty="0"/>
          </a:p>
        </p:txBody>
      </p:sp>
      <p:cxnSp>
        <p:nvCxnSpPr>
          <p:cNvPr id="12" name="Прямая соединительная линия 11"/>
          <p:cNvCxnSpPr>
            <a:stCxn id="5" idx="3"/>
            <a:endCxn id="48" idx="1"/>
          </p:cNvCxnSpPr>
          <p:nvPr/>
        </p:nvCxnSpPr>
        <p:spPr>
          <a:xfrm flipV="1">
            <a:off x="2776857" y="2046290"/>
            <a:ext cx="648072" cy="77064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stCxn id="10" idx="3"/>
          </p:cNvCxnSpPr>
          <p:nvPr/>
        </p:nvCxnSpPr>
        <p:spPr>
          <a:xfrm>
            <a:off x="2776857" y="2795737"/>
            <a:ext cx="648072" cy="1137319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stCxn id="50" idx="3"/>
          </p:cNvCxnSpPr>
          <p:nvPr/>
        </p:nvCxnSpPr>
        <p:spPr>
          <a:xfrm flipV="1">
            <a:off x="5657177" y="2046290"/>
            <a:ext cx="648072" cy="174275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>
            <a:stCxn id="50" idx="3"/>
            <a:endCxn id="54" idx="1"/>
          </p:cNvCxnSpPr>
          <p:nvPr/>
        </p:nvCxnSpPr>
        <p:spPr>
          <a:xfrm flipV="1">
            <a:off x="5657177" y="3032956"/>
            <a:ext cx="648072" cy="756084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>
            <a:stCxn id="50" idx="3"/>
            <a:endCxn id="56" idx="1"/>
          </p:cNvCxnSpPr>
          <p:nvPr/>
        </p:nvCxnSpPr>
        <p:spPr>
          <a:xfrm>
            <a:off x="5657177" y="3789040"/>
            <a:ext cx="648072" cy="32403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>
            <a:stCxn id="36" idx="3"/>
            <a:endCxn id="58" idx="1"/>
          </p:cNvCxnSpPr>
          <p:nvPr/>
        </p:nvCxnSpPr>
        <p:spPr>
          <a:xfrm flipV="1">
            <a:off x="2771800" y="5202324"/>
            <a:ext cx="3533449" cy="32403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>
            <a:stCxn id="36" idx="3"/>
            <a:endCxn id="61" idx="1"/>
          </p:cNvCxnSpPr>
          <p:nvPr/>
        </p:nvCxnSpPr>
        <p:spPr>
          <a:xfrm>
            <a:off x="2771800" y="5526360"/>
            <a:ext cx="3533449" cy="74695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651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Актуальные задачи в области ИБ 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7544" y="2193826"/>
            <a:ext cx="554461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2800" dirty="0"/>
              <a:t>Соответствие ИС отраслевым стандартам и требованиям регуляторов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800" dirty="0" smtClean="0"/>
              <a:t>Защита персональных данных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800" dirty="0" smtClean="0"/>
              <a:t>Безопасность удаленного доступа</a:t>
            </a:r>
            <a:endParaRPr lang="ru-RU" sz="28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ru-RU" sz="2800" dirty="0" smtClean="0"/>
              <a:t>Облачная безопасность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2800" dirty="0" smtClean="0"/>
              <a:t>Развитие рынка средств ИБ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1628800"/>
            <a:ext cx="3090104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18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0"/>
            <a:ext cx="7128792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дача: </a:t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Соответствие требованиям</a:t>
            </a:r>
            <a:endParaRPr lang="ru-RU" sz="28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177988" y="3681028"/>
            <a:ext cx="1296144" cy="7920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2249996" y="3754777"/>
            <a:ext cx="1152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/>
              <a:t>ИБ</a:t>
            </a:r>
            <a:endParaRPr lang="ru-RU" sz="3600" b="1" dirty="0"/>
          </a:p>
        </p:txBody>
      </p:sp>
      <p:sp>
        <p:nvSpPr>
          <p:cNvPr id="9" name="Овал 8"/>
          <p:cNvSpPr/>
          <p:nvPr/>
        </p:nvSpPr>
        <p:spPr>
          <a:xfrm>
            <a:off x="3983686" y="1484784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4091698" y="1671191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ФСТЭК</a:t>
            </a:r>
            <a:endParaRPr lang="ru-RU" sz="2400" b="1" dirty="0"/>
          </a:p>
        </p:txBody>
      </p:sp>
      <p:sp>
        <p:nvSpPr>
          <p:cNvPr id="17" name="Овал 16"/>
          <p:cNvSpPr/>
          <p:nvPr/>
        </p:nvSpPr>
        <p:spPr>
          <a:xfrm>
            <a:off x="3983686" y="2348880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4091698" y="2535287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ФСБ</a:t>
            </a:r>
            <a:endParaRPr lang="ru-RU" sz="2400" b="1" dirty="0"/>
          </a:p>
        </p:txBody>
      </p:sp>
      <p:sp>
        <p:nvSpPr>
          <p:cNvPr id="19" name="Овал 18"/>
          <p:cNvSpPr/>
          <p:nvPr/>
        </p:nvSpPr>
        <p:spPr>
          <a:xfrm>
            <a:off x="3983686" y="3212976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091698" y="3399383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МО</a:t>
            </a:r>
            <a:endParaRPr lang="ru-RU" sz="2400" b="1" dirty="0"/>
          </a:p>
        </p:txBody>
      </p:sp>
      <p:sp>
        <p:nvSpPr>
          <p:cNvPr id="21" name="Овал 20"/>
          <p:cNvSpPr/>
          <p:nvPr/>
        </p:nvSpPr>
        <p:spPr>
          <a:xfrm>
            <a:off x="3983686" y="4077072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4091698" y="4263479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ФСО</a:t>
            </a:r>
            <a:endParaRPr lang="ru-RU" sz="2400" b="1" dirty="0"/>
          </a:p>
        </p:txBody>
      </p:sp>
      <p:sp>
        <p:nvSpPr>
          <p:cNvPr id="23" name="Овал 22"/>
          <p:cNvSpPr/>
          <p:nvPr/>
        </p:nvSpPr>
        <p:spPr>
          <a:xfrm>
            <a:off x="4001578" y="4957221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4109590" y="5041423"/>
            <a:ext cx="11521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 smtClean="0"/>
              <a:t>Минкомсвязь</a:t>
            </a:r>
            <a:endParaRPr lang="ru-RU" sz="2000" b="1" dirty="0"/>
          </a:p>
        </p:txBody>
      </p:sp>
      <p:sp>
        <p:nvSpPr>
          <p:cNvPr id="25" name="Овал 24"/>
          <p:cNvSpPr/>
          <p:nvPr/>
        </p:nvSpPr>
        <p:spPr>
          <a:xfrm>
            <a:off x="3983686" y="5877272"/>
            <a:ext cx="1368152" cy="7920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4091698" y="6063679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СВР</a:t>
            </a:r>
            <a:endParaRPr lang="ru-RU" sz="2400" b="1" dirty="0"/>
          </a:p>
        </p:txBody>
      </p:sp>
      <p:cxnSp>
        <p:nvCxnSpPr>
          <p:cNvPr id="27" name="Прямая со стрелкой 26"/>
          <p:cNvCxnSpPr>
            <a:stCxn id="7" idx="3"/>
            <a:endCxn id="9" idx="2"/>
          </p:cNvCxnSpPr>
          <p:nvPr/>
        </p:nvCxnSpPr>
        <p:spPr>
          <a:xfrm flipV="1">
            <a:off x="3474132" y="1880828"/>
            <a:ext cx="509554" cy="2196244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7" idx="3"/>
            <a:endCxn id="17" idx="2"/>
          </p:cNvCxnSpPr>
          <p:nvPr/>
        </p:nvCxnSpPr>
        <p:spPr>
          <a:xfrm flipV="1">
            <a:off x="3474132" y="2744924"/>
            <a:ext cx="509554" cy="133214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7" idx="3"/>
            <a:endCxn id="19" idx="2"/>
          </p:cNvCxnSpPr>
          <p:nvPr/>
        </p:nvCxnSpPr>
        <p:spPr>
          <a:xfrm flipV="1">
            <a:off x="3474132" y="3609020"/>
            <a:ext cx="509554" cy="46805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7" idx="3"/>
            <a:endCxn id="21" idx="2"/>
          </p:cNvCxnSpPr>
          <p:nvPr/>
        </p:nvCxnSpPr>
        <p:spPr>
          <a:xfrm>
            <a:off x="3474132" y="4077072"/>
            <a:ext cx="509554" cy="396044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7" idx="3"/>
            <a:endCxn id="23" idx="2"/>
          </p:cNvCxnSpPr>
          <p:nvPr/>
        </p:nvCxnSpPr>
        <p:spPr>
          <a:xfrm>
            <a:off x="3474132" y="4077072"/>
            <a:ext cx="527446" cy="127619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>
            <a:stCxn id="7" idx="3"/>
            <a:endCxn id="25" idx="2"/>
          </p:cNvCxnSpPr>
          <p:nvPr/>
        </p:nvCxnSpPr>
        <p:spPr>
          <a:xfrm>
            <a:off x="3474132" y="4077072"/>
            <a:ext cx="509554" cy="2196244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5657762" y="1772816"/>
            <a:ext cx="1512168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5657762" y="2004423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ЦБ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5657762" y="3032956"/>
            <a:ext cx="1512168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5657762" y="3140968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Минздрав</a:t>
            </a:r>
          </a:p>
          <a:p>
            <a:pPr algn="ctr"/>
            <a:r>
              <a:rPr lang="ru-RU" b="1" dirty="0" err="1" smtClean="0"/>
              <a:t>соцразвитие</a:t>
            </a:r>
            <a:endParaRPr lang="ru-RU" b="1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5657762" y="4293096"/>
            <a:ext cx="1512168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/>
          <p:cNvSpPr txBox="1"/>
          <p:nvPr/>
        </p:nvSpPr>
        <p:spPr>
          <a:xfrm>
            <a:off x="5657762" y="4401108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 smtClean="0"/>
              <a:t>Минобразо-вание</a:t>
            </a:r>
            <a:endParaRPr lang="ru-RU" b="1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5657762" y="5517232"/>
            <a:ext cx="1512168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5657762" y="5733256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НАПФ</a:t>
            </a:r>
            <a:endParaRPr lang="ru-RU" b="1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85" y="1985764"/>
            <a:ext cx="1806327" cy="4038600"/>
          </a:xfrm>
          <a:prstGeom prst="rect">
            <a:avLst/>
          </a:prstGeom>
        </p:spPr>
      </p:pic>
      <p:sp>
        <p:nvSpPr>
          <p:cNvPr id="46" name="Прямоугольник 45"/>
          <p:cNvSpPr/>
          <p:nvPr/>
        </p:nvSpPr>
        <p:spPr>
          <a:xfrm rot="16200000">
            <a:off x="6624228" y="3392996"/>
            <a:ext cx="3384376" cy="864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 rot="16200000">
            <a:off x="6624229" y="3471099"/>
            <a:ext cx="33843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МЕЖДУНАРОДНЫЕ РЕГУЛЯТОРЫ</a:t>
            </a:r>
            <a:endParaRPr lang="ru-RU" sz="2000" b="1" dirty="0"/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7506580" y="1484784"/>
            <a:ext cx="0" cy="537321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46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0"/>
            <a:ext cx="7056784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дача: </a:t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щита персональных данных</a:t>
            </a:r>
            <a:endParaRPr lang="ru-RU" sz="28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988840"/>
            <a:ext cx="561662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Измененный ФЗ «О Персональных данных» </a:t>
            </a:r>
          </a:p>
          <a:p>
            <a:pPr algn="ctr"/>
            <a:r>
              <a:rPr lang="ru-RU" sz="2800" b="1" dirty="0" smtClean="0"/>
              <a:t>(№ФЗ-152 от 27.07.2006)</a:t>
            </a:r>
          </a:p>
          <a:p>
            <a:pPr marL="285750" indent="-285750">
              <a:buFontTx/>
              <a:buChar char="-"/>
            </a:pPr>
            <a:endParaRPr lang="ru-RU" dirty="0" smtClean="0"/>
          </a:p>
          <a:p>
            <a:pPr marL="285750" indent="-285750">
              <a:buFontTx/>
              <a:buChar char="-"/>
            </a:pPr>
            <a:r>
              <a:rPr lang="ru-RU" dirty="0" smtClean="0"/>
              <a:t>Терминология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Контроль со стороны ФСБ и ФСТЭК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Условия обработки ПДн (трансграничная передача, без разрешения и т.д.)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Права субъектов ПДн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Ужесточение требований к Операторам ПДн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2061858"/>
            <a:ext cx="2406368" cy="387274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67544" y="5435932"/>
            <a:ext cx="5256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ПРОДОЛЖЕНИЕ СЛЕДУЕТ…</a:t>
            </a:r>
            <a:endParaRPr lang="ru-RU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" y="5913784"/>
            <a:ext cx="899592" cy="89959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15616" y="617891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татья «Бизнес без секретов» в «Российской газете» (№193 от  01.09.2011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856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дача:</a:t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щита удаленного доступа</a:t>
            </a:r>
            <a:endParaRPr lang="ru-RU" sz="28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7584" y="1916832"/>
            <a:ext cx="583264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2400" b="1" dirty="0" smtClean="0"/>
              <a:t>ЛЮБОЕ  устройство</a:t>
            </a:r>
          </a:p>
          <a:p>
            <a:pPr marL="285750" indent="-285750">
              <a:buFontTx/>
              <a:buChar char="-"/>
            </a:pPr>
            <a:r>
              <a:rPr lang="ru-RU" sz="2400" b="1" dirty="0" smtClean="0"/>
              <a:t>ЛЮБОЕ местонахождение</a:t>
            </a:r>
          </a:p>
          <a:p>
            <a:pPr marL="285750" indent="-285750">
              <a:buFontTx/>
              <a:buChar char="-"/>
            </a:pPr>
            <a:r>
              <a:rPr lang="ru-RU" sz="2400" b="1" dirty="0" smtClean="0"/>
              <a:t>ЛЮБЫЕ данные</a:t>
            </a:r>
          </a:p>
          <a:p>
            <a:pPr marL="285750" indent="-285750">
              <a:buFontTx/>
              <a:buChar char="-"/>
            </a:pPr>
            <a:r>
              <a:rPr lang="ru-RU" sz="2400" b="1" dirty="0" smtClean="0"/>
              <a:t>ЛЮБАЯ технология доступа</a:t>
            </a:r>
          </a:p>
          <a:p>
            <a:pPr marL="285750" indent="-285750">
              <a:buFontTx/>
              <a:buChar char="-"/>
            </a:pPr>
            <a:r>
              <a:rPr lang="ru-RU" sz="2400" b="1" dirty="0" smtClean="0"/>
              <a:t>ЛЮБАЯ ОС и приложения</a:t>
            </a:r>
            <a:endParaRPr lang="ru-RU" sz="2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1051992" y="4365104"/>
            <a:ext cx="38080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b="1" dirty="0" smtClean="0"/>
              <a:t>Аутентификация пользователя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Защищенное соединение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Контроль доступа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Шифрование данных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Защита приложений</a:t>
            </a:r>
            <a:endParaRPr lang="ru-RU" b="1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2276872"/>
            <a:ext cx="3245347" cy="3440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дача:</a:t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Облачная </a:t>
            </a: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безопасност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4016" y="1556792"/>
            <a:ext cx="8999984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Международное законодательство: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NIST</a:t>
            </a:r>
            <a:r>
              <a:rPr lang="en-US" dirty="0" smtClean="0"/>
              <a:t>:</a:t>
            </a:r>
          </a:p>
          <a:p>
            <a:r>
              <a:rPr lang="en-US" dirty="0"/>
              <a:t>	</a:t>
            </a:r>
            <a:r>
              <a:rPr lang="en-US" dirty="0" err="1"/>
              <a:t>проект</a:t>
            </a:r>
            <a:r>
              <a:rPr lang="en-US" dirty="0"/>
              <a:t> SP 800-146 </a:t>
            </a:r>
            <a:r>
              <a:rPr lang="ru-RU" b="1" dirty="0" smtClean="0"/>
              <a:t>«</a:t>
            </a:r>
            <a:r>
              <a:rPr lang="en-US" b="1" dirty="0" smtClean="0"/>
              <a:t>Cloud </a:t>
            </a:r>
            <a:r>
              <a:rPr lang="en-US" b="1" dirty="0"/>
              <a:t>Computing Synopsis and </a:t>
            </a:r>
            <a:r>
              <a:rPr lang="en-US" b="1" dirty="0" smtClean="0"/>
              <a:t>Recommendations</a:t>
            </a:r>
            <a:r>
              <a:rPr lang="ru-RU" b="1" dirty="0" smtClean="0"/>
              <a:t>»</a:t>
            </a:r>
            <a:r>
              <a:rPr lang="en-US" dirty="0" smtClean="0"/>
              <a:t>, </a:t>
            </a:r>
          </a:p>
          <a:p>
            <a:r>
              <a:rPr lang="en-US" dirty="0"/>
              <a:t>	</a:t>
            </a:r>
            <a:r>
              <a:rPr lang="ru-RU" dirty="0" smtClean="0"/>
              <a:t>проект «</a:t>
            </a:r>
            <a:r>
              <a:rPr lang="en-US" b="1" dirty="0"/>
              <a:t>Cloud Computing Security Impediments and Mitigations </a:t>
            </a:r>
            <a:r>
              <a:rPr lang="en-US" b="1" dirty="0" smtClean="0"/>
              <a:t>List</a:t>
            </a:r>
            <a:r>
              <a:rPr lang="ru-RU" b="1" dirty="0" smtClean="0"/>
              <a:t>»</a:t>
            </a:r>
            <a:r>
              <a:rPr lang="ru-RU" dirty="0" smtClean="0"/>
              <a:t>	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BSI:</a:t>
            </a:r>
            <a:endParaRPr lang="ru-RU" dirty="0" smtClean="0"/>
          </a:p>
          <a:p>
            <a:r>
              <a:rPr lang="ru-RU" dirty="0" smtClean="0"/>
              <a:t>	«</a:t>
            </a:r>
            <a:r>
              <a:rPr lang="en-US" b="1" dirty="0" smtClean="0"/>
              <a:t>Security </a:t>
            </a:r>
            <a:r>
              <a:rPr lang="en-US" b="1" dirty="0"/>
              <a:t>Recommendations for Cloud Computing </a:t>
            </a:r>
            <a:r>
              <a:rPr lang="en-US" b="1" dirty="0" smtClean="0"/>
              <a:t>Providers</a:t>
            </a:r>
            <a:r>
              <a:rPr lang="ru-RU" b="1" dirty="0" smtClean="0"/>
              <a:t>»  </a:t>
            </a:r>
            <a:r>
              <a:rPr lang="ru-RU" dirty="0" smtClean="0"/>
              <a:t>(июнь 2011);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PCI Consul:</a:t>
            </a:r>
            <a:endParaRPr lang="ru-RU" dirty="0" smtClean="0"/>
          </a:p>
          <a:p>
            <a:r>
              <a:rPr lang="ru-RU" b="1" dirty="0" smtClean="0"/>
              <a:t>	«</a:t>
            </a:r>
            <a:r>
              <a:rPr lang="en-US" b="1" dirty="0" smtClean="0"/>
              <a:t>PCI security standards council publishes </a:t>
            </a:r>
            <a:r>
              <a:rPr lang="en-US" b="1" dirty="0" err="1" smtClean="0"/>
              <a:t>pci</a:t>
            </a:r>
            <a:r>
              <a:rPr lang="en-US" b="1" dirty="0" smtClean="0"/>
              <a:t> </a:t>
            </a:r>
            <a:r>
              <a:rPr lang="en-US" b="1" dirty="0" err="1" smtClean="0"/>
              <a:t>dss</a:t>
            </a:r>
            <a:r>
              <a:rPr lang="en-US" b="1" dirty="0" smtClean="0"/>
              <a:t> virtualization guidelines</a:t>
            </a:r>
            <a:r>
              <a:rPr lang="ru-RU" b="1" dirty="0" smtClean="0"/>
              <a:t>» </a:t>
            </a:r>
            <a:r>
              <a:rPr lang="ru-RU" dirty="0" smtClean="0"/>
              <a:t>(июнь 2011);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ENISA</a:t>
            </a:r>
            <a:r>
              <a:rPr lang="ru-RU" dirty="0" smtClean="0"/>
              <a:t>:</a:t>
            </a:r>
          </a:p>
          <a:p>
            <a:r>
              <a:rPr lang="ru-RU" dirty="0" smtClean="0"/>
              <a:t>	</a:t>
            </a:r>
            <a:r>
              <a:rPr lang="ru-RU" b="1" dirty="0" smtClean="0"/>
              <a:t>«</a:t>
            </a:r>
            <a:r>
              <a:rPr lang="en-US" b="1" dirty="0" smtClean="0"/>
              <a:t>Security </a:t>
            </a:r>
            <a:r>
              <a:rPr lang="en-US" b="1" dirty="0"/>
              <a:t>&amp; Resilience in Governmental Clouds. Making an informed </a:t>
            </a:r>
            <a:r>
              <a:rPr lang="en-US" b="1" dirty="0" smtClean="0"/>
              <a:t>decision</a:t>
            </a:r>
            <a:r>
              <a:rPr lang="ru-RU" b="1" dirty="0" smtClean="0"/>
              <a:t>»</a:t>
            </a:r>
            <a:r>
              <a:rPr lang="ru-RU" dirty="0" smtClean="0"/>
              <a:t> (январь 2011);</a:t>
            </a:r>
            <a:r>
              <a:rPr lang="en-US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ru-RU" dirty="0"/>
              <a:t>ISO (совместно с ITU-T, ISACA, NIST и ENISA</a:t>
            </a:r>
            <a:r>
              <a:rPr lang="ru-RU" dirty="0" smtClean="0"/>
              <a:t>):</a:t>
            </a:r>
          </a:p>
          <a:p>
            <a:r>
              <a:rPr lang="ru-RU" dirty="0"/>
              <a:t>	</a:t>
            </a:r>
            <a:r>
              <a:rPr lang="ru-RU" dirty="0" smtClean="0"/>
              <a:t>проект </a:t>
            </a:r>
            <a:r>
              <a:rPr lang="ru-RU" b="1" dirty="0" smtClean="0"/>
              <a:t>«</a:t>
            </a:r>
            <a:r>
              <a:rPr lang="en-US" b="1" dirty="0" smtClean="0"/>
              <a:t>Information </a:t>
            </a:r>
            <a:r>
              <a:rPr lang="en-US" b="1" dirty="0"/>
              <a:t>technology – Security techniques – Guidelines on Information security controls for the use of cloud computing services based on ISO/IEC </a:t>
            </a:r>
            <a:r>
              <a:rPr lang="en-US" b="1" dirty="0" smtClean="0"/>
              <a:t>27002</a:t>
            </a:r>
            <a:r>
              <a:rPr lang="ru-RU" b="1" dirty="0" smtClean="0"/>
              <a:t>»</a:t>
            </a:r>
            <a:r>
              <a:rPr lang="en-US" dirty="0" smtClean="0"/>
              <a:t>. </a:t>
            </a:r>
          </a:p>
          <a:p>
            <a:pPr marL="285750" indent="-285750">
              <a:buFontTx/>
              <a:buChar char="-"/>
            </a:pPr>
            <a:endParaRPr lang="ru-RU" dirty="0"/>
          </a:p>
        </p:txBody>
      </p:sp>
      <p:sp>
        <p:nvSpPr>
          <p:cNvPr id="5" name="Облако 4"/>
          <p:cNvSpPr/>
          <p:nvPr/>
        </p:nvSpPr>
        <p:spPr>
          <a:xfrm>
            <a:off x="7956376" y="1856062"/>
            <a:ext cx="644525" cy="50165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Облако 5"/>
          <p:cNvSpPr/>
          <p:nvPr/>
        </p:nvSpPr>
        <p:spPr>
          <a:xfrm>
            <a:off x="327075" y="2348880"/>
            <a:ext cx="644525" cy="50165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Облако 6"/>
          <p:cNvSpPr/>
          <p:nvPr/>
        </p:nvSpPr>
        <p:spPr>
          <a:xfrm>
            <a:off x="8278638" y="5733346"/>
            <a:ext cx="644525" cy="50165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Облако 7"/>
          <p:cNvSpPr/>
          <p:nvPr/>
        </p:nvSpPr>
        <p:spPr>
          <a:xfrm>
            <a:off x="3530435" y="3980300"/>
            <a:ext cx="644525" cy="50165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6" y="5913784"/>
            <a:ext cx="899592" cy="89959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115616" y="6178914"/>
            <a:ext cx="76328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татья «Путеводитель по облакам» в «</a:t>
            </a:r>
            <a:r>
              <a:rPr lang="en-US" dirty="0" smtClean="0"/>
              <a:t>National Business</a:t>
            </a:r>
            <a:r>
              <a:rPr lang="ru-RU" dirty="0" smtClean="0"/>
              <a:t>» (октябрь 2011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037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768" y="0"/>
            <a:ext cx="6160198" cy="1412776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Задача:</a:t>
            </a:r>
            <a:br>
              <a:rPr lang="ru-RU" sz="2800" b="1" dirty="0" smtClean="0">
                <a:latin typeface="Arial" pitchFamily="34" charset="0"/>
                <a:cs typeface="Arial" pitchFamily="34" charset="0"/>
              </a:rPr>
            </a:b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Развитие </a:t>
            </a: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рынка средств ИБ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844824"/>
            <a:ext cx="1512168" cy="43716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2564904"/>
            <a:ext cx="1554033" cy="57606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627" y="3261660"/>
            <a:ext cx="1666677" cy="61863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3880296"/>
            <a:ext cx="1676400" cy="61912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812" y="4653136"/>
            <a:ext cx="1828524" cy="41852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514" y="5445224"/>
            <a:ext cx="1537623" cy="51254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39552" y="2039937"/>
            <a:ext cx="468052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МИНУСЫ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отсутствие современной нормативной базы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уход  технологий «вперед»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непонимание Клиента в части необходимости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часто несовместимость с другими СЗИ</a:t>
            </a:r>
          </a:p>
          <a:p>
            <a:endParaRPr lang="ru-RU" b="1" dirty="0" smtClean="0"/>
          </a:p>
          <a:p>
            <a:r>
              <a:rPr lang="ru-RU" b="1" dirty="0" smtClean="0"/>
              <a:t>ПЛЮСЫ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быстрое реагирование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желание развиваться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поддержка Клиентов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dirty="0" smtClean="0"/>
              <a:t>понижение стоимо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88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bXVuBJe0O3BaES2XVeZ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09F64C583230647A8C5389550609424" ma:contentTypeVersion="0" ma:contentTypeDescription="Создание документа." ma:contentTypeScope="" ma:versionID="19fd994cf72d3511de8238e75504263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B0F507C-6489-4D90-ABE5-6F0512230750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D31AA6A-7616-4A74-A6F0-00C5123423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5449CA2-5637-48A9-9A6A-C13789BA9D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295</TotalTime>
  <Words>649</Words>
  <Application>Microsoft Office PowerPoint</Application>
  <PresentationFormat>Экран (4:3)</PresentationFormat>
  <Paragraphs>260</Paragraphs>
  <Slides>19</Slides>
  <Notes>19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Тема Office</vt:lpstr>
      <vt:lpstr>ИНФОРМАЦИОННАЯ БЕЗОПАСНОСТЬ  И СОВРЕМЕННОЕ ПРЕДПРИЯТИЕ</vt:lpstr>
      <vt:lpstr>Три кита ИБ</vt:lpstr>
      <vt:lpstr>Направления ИБ  </vt:lpstr>
      <vt:lpstr>Актуальные задачи в области ИБ  </vt:lpstr>
      <vt:lpstr>Задача:  Соответствие требованиям</vt:lpstr>
      <vt:lpstr>Задача:  Защита персональных данных</vt:lpstr>
      <vt:lpstr>Задача: Защита удаленного доступа</vt:lpstr>
      <vt:lpstr>Задача: Облачная безопасность</vt:lpstr>
      <vt:lpstr>Задача: Развитие рынка средств ИБ</vt:lpstr>
      <vt:lpstr>Статьи расходов ИБ</vt:lpstr>
      <vt:lpstr>Профиль компании</vt:lpstr>
      <vt:lpstr>Портфель решений</vt:lpstr>
      <vt:lpstr>Портфель решений</vt:lpstr>
      <vt:lpstr>Заказчики компании</vt:lpstr>
      <vt:lpstr>Партнеры</vt:lpstr>
      <vt:lpstr>Лицензии</vt:lpstr>
      <vt:lpstr>Лицензии</vt:lpstr>
      <vt:lpstr>Презентация PowerPoint</vt:lpstr>
      <vt:lpstr>Благодарим за внима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ro</dc:creator>
  <cp:lastModifiedBy>Kozlenko Mariya</cp:lastModifiedBy>
  <cp:revision>83</cp:revision>
  <dcterms:created xsi:type="dcterms:W3CDTF">2011-07-15T14:43:54Z</dcterms:created>
  <dcterms:modified xsi:type="dcterms:W3CDTF">2011-10-14T06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9F64C583230647A8C5389550609424</vt:lpwstr>
  </property>
</Properties>
</file>